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6ACAEE-5A9C-46C9-891D-644C5A02236C}" v="54" dt="2023-03-07T22:49:25.5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C26ACAEE-5A9C-46C9-891D-644C5A02236C}"/>
    <pc:docChg chg="undo custSel addSld delSld modSld">
      <pc:chgData name="Roberto Gallardo" userId="49a044883f185952" providerId="LiveId" clId="{C26ACAEE-5A9C-46C9-891D-644C5A02236C}" dt="2023-03-07T22:49:33.935" v="244" actId="1076"/>
      <pc:docMkLst>
        <pc:docMk/>
      </pc:docMkLst>
      <pc:sldChg chg="del">
        <pc:chgData name="Roberto Gallardo" userId="49a044883f185952" providerId="LiveId" clId="{C26ACAEE-5A9C-46C9-891D-644C5A02236C}" dt="2023-02-25T15:04:00.037" v="62" actId="47"/>
        <pc:sldMkLst>
          <pc:docMk/>
          <pc:sldMk cId="1175010214" sldId="261"/>
        </pc:sldMkLst>
      </pc:sldChg>
      <pc:sldChg chg="addSp modSp mod">
        <pc:chgData name="Roberto Gallardo" userId="49a044883f185952" providerId="LiveId" clId="{C26ACAEE-5A9C-46C9-891D-644C5A02236C}" dt="2023-03-07T22:44:05.619" v="69" actId="1076"/>
        <pc:sldMkLst>
          <pc:docMk/>
          <pc:sldMk cId="1418533539" sldId="271"/>
        </pc:sldMkLst>
        <pc:picChg chg="add mod">
          <ac:chgData name="Roberto Gallardo" userId="49a044883f185952" providerId="LiveId" clId="{C26ACAEE-5A9C-46C9-891D-644C5A02236C}" dt="2023-03-07T22:44:05.619" v="69" actId="1076"/>
          <ac:picMkLst>
            <pc:docMk/>
            <pc:sldMk cId="1418533539" sldId="271"/>
            <ac:picMk id="6" creationId="{22C62D99-D1F7-3A36-0D69-48E87766B478}"/>
          </ac:picMkLst>
        </pc:picChg>
      </pc:sldChg>
      <pc:sldChg chg="addSp delSp mod">
        <pc:chgData name="Roberto Gallardo" userId="49a044883f185952" providerId="LiveId" clId="{C26ACAEE-5A9C-46C9-891D-644C5A02236C}" dt="2023-02-25T15:03:47.991" v="60" actId="22"/>
        <pc:sldMkLst>
          <pc:docMk/>
          <pc:sldMk cId="2653937722" sldId="272"/>
        </pc:sldMkLst>
        <pc:spChg chg="add del">
          <ac:chgData name="Roberto Gallardo" userId="49a044883f185952" providerId="LiveId" clId="{C26ACAEE-5A9C-46C9-891D-644C5A02236C}" dt="2023-02-25T15:03:47.991" v="60" actId="22"/>
          <ac:spMkLst>
            <pc:docMk/>
            <pc:sldMk cId="2653937722" sldId="272"/>
            <ac:spMk id="7" creationId="{A8D89652-1250-0BB9-8B35-F16FF33B06DB}"/>
          </ac:spMkLst>
        </pc:spChg>
      </pc:sldChg>
      <pc:sldChg chg="addSp modSp mod">
        <pc:chgData name="Roberto Gallardo" userId="49a044883f185952" providerId="LiveId" clId="{C26ACAEE-5A9C-46C9-891D-644C5A02236C}" dt="2023-03-07T22:46:09.239" v="125" actId="1076"/>
        <pc:sldMkLst>
          <pc:docMk/>
          <pc:sldMk cId="2124848710" sldId="281"/>
        </pc:sldMkLst>
        <pc:picChg chg="add mod">
          <ac:chgData name="Roberto Gallardo" userId="49a044883f185952" providerId="LiveId" clId="{C26ACAEE-5A9C-46C9-891D-644C5A02236C}" dt="2023-03-07T22:46:09.239" v="125" actId="1076"/>
          <ac:picMkLst>
            <pc:docMk/>
            <pc:sldMk cId="2124848710" sldId="281"/>
            <ac:picMk id="6" creationId="{53765FF7-00E1-04E0-4B1D-E0FFD07A6402}"/>
          </ac:picMkLst>
        </pc:picChg>
      </pc:sldChg>
      <pc:sldChg chg="addSp modSp mod">
        <pc:chgData name="Roberto Gallardo" userId="49a044883f185952" providerId="LiveId" clId="{C26ACAEE-5A9C-46C9-891D-644C5A02236C}" dt="2023-03-07T22:46:24.587" v="135" actId="1076"/>
        <pc:sldMkLst>
          <pc:docMk/>
          <pc:sldMk cId="2028175529" sldId="282"/>
        </pc:sldMkLst>
        <pc:picChg chg="add mod">
          <ac:chgData name="Roberto Gallardo" userId="49a044883f185952" providerId="LiveId" clId="{C26ACAEE-5A9C-46C9-891D-644C5A02236C}" dt="2023-03-07T22:46:24.587" v="135" actId="1076"/>
          <ac:picMkLst>
            <pc:docMk/>
            <pc:sldMk cId="2028175529" sldId="282"/>
            <ac:picMk id="7" creationId="{A9184038-6B95-10DC-03E0-67E070BF9F11}"/>
          </ac:picMkLst>
        </pc:picChg>
      </pc:sldChg>
      <pc:sldChg chg="addSp modSp mod">
        <pc:chgData name="Roberto Gallardo" userId="49a044883f185952" providerId="LiveId" clId="{C26ACAEE-5A9C-46C9-891D-644C5A02236C}" dt="2023-03-07T22:46:43.050" v="146" actId="1076"/>
        <pc:sldMkLst>
          <pc:docMk/>
          <pc:sldMk cId="1326517747" sldId="283"/>
        </pc:sldMkLst>
        <pc:picChg chg="add mod">
          <ac:chgData name="Roberto Gallardo" userId="49a044883f185952" providerId="LiveId" clId="{C26ACAEE-5A9C-46C9-891D-644C5A02236C}" dt="2023-03-07T22:46:43.050" v="146" actId="1076"/>
          <ac:picMkLst>
            <pc:docMk/>
            <pc:sldMk cId="1326517747" sldId="283"/>
            <ac:picMk id="7" creationId="{DF82CEF4-4250-6B20-F032-A217FB42FB98}"/>
          </ac:picMkLst>
        </pc:picChg>
      </pc:sldChg>
      <pc:sldChg chg="addSp modSp mod">
        <pc:chgData name="Roberto Gallardo" userId="49a044883f185952" providerId="LiveId" clId="{C26ACAEE-5A9C-46C9-891D-644C5A02236C}" dt="2023-03-07T22:47:03.907" v="157" actId="1076"/>
        <pc:sldMkLst>
          <pc:docMk/>
          <pc:sldMk cId="783739251" sldId="284"/>
        </pc:sldMkLst>
        <pc:picChg chg="add mod">
          <ac:chgData name="Roberto Gallardo" userId="49a044883f185952" providerId="LiveId" clId="{C26ACAEE-5A9C-46C9-891D-644C5A02236C}" dt="2023-03-07T22:47:03.907" v="157" actId="1076"/>
          <ac:picMkLst>
            <pc:docMk/>
            <pc:sldMk cId="783739251" sldId="284"/>
            <ac:picMk id="7" creationId="{30985637-5CD9-431D-626C-13DC245486E1}"/>
          </ac:picMkLst>
        </pc:picChg>
      </pc:sldChg>
      <pc:sldChg chg="addSp modSp mod">
        <pc:chgData name="Roberto Gallardo" userId="49a044883f185952" providerId="LiveId" clId="{C26ACAEE-5A9C-46C9-891D-644C5A02236C}" dt="2023-03-07T22:47:21.459" v="168" actId="1076"/>
        <pc:sldMkLst>
          <pc:docMk/>
          <pc:sldMk cId="1676122233" sldId="285"/>
        </pc:sldMkLst>
        <pc:picChg chg="add mod">
          <ac:chgData name="Roberto Gallardo" userId="49a044883f185952" providerId="LiveId" clId="{C26ACAEE-5A9C-46C9-891D-644C5A02236C}" dt="2023-03-07T22:47:21.459" v="168" actId="1076"/>
          <ac:picMkLst>
            <pc:docMk/>
            <pc:sldMk cId="1676122233" sldId="285"/>
            <ac:picMk id="7" creationId="{FB102B63-0892-22FF-8915-23F24CADCD75}"/>
          </ac:picMkLst>
        </pc:picChg>
      </pc:sldChg>
      <pc:sldChg chg="addSp modSp mod">
        <pc:chgData name="Roberto Gallardo" userId="49a044883f185952" providerId="LiveId" clId="{C26ACAEE-5A9C-46C9-891D-644C5A02236C}" dt="2023-03-07T22:47:40.323" v="177" actId="1076"/>
        <pc:sldMkLst>
          <pc:docMk/>
          <pc:sldMk cId="3100398757" sldId="286"/>
        </pc:sldMkLst>
        <pc:picChg chg="add mod">
          <ac:chgData name="Roberto Gallardo" userId="49a044883f185952" providerId="LiveId" clId="{C26ACAEE-5A9C-46C9-891D-644C5A02236C}" dt="2023-03-07T22:47:40.323" v="177" actId="1076"/>
          <ac:picMkLst>
            <pc:docMk/>
            <pc:sldMk cId="3100398757" sldId="286"/>
            <ac:picMk id="7" creationId="{DC8AA3B7-9E14-897E-C809-08B002BFD145}"/>
          </ac:picMkLst>
        </pc:picChg>
      </pc:sldChg>
      <pc:sldChg chg="addSp modSp mod">
        <pc:chgData name="Roberto Gallardo" userId="49a044883f185952" providerId="LiveId" clId="{C26ACAEE-5A9C-46C9-891D-644C5A02236C}" dt="2023-03-07T22:47:56.066" v="185" actId="1076"/>
        <pc:sldMkLst>
          <pc:docMk/>
          <pc:sldMk cId="1546475425" sldId="287"/>
        </pc:sldMkLst>
        <pc:picChg chg="add mod">
          <ac:chgData name="Roberto Gallardo" userId="49a044883f185952" providerId="LiveId" clId="{C26ACAEE-5A9C-46C9-891D-644C5A02236C}" dt="2023-03-07T22:47:56.066" v="185" actId="1076"/>
          <ac:picMkLst>
            <pc:docMk/>
            <pc:sldMk cId="1546475425" sldId="287"/>
            <ac:picMk id="7" creationId="{8701C1F0-9527-8614-B9B7-12C136501763}"/>
          </ac:picMkLst>
        </pc:picChg>
      </pc:sldChg>
      <pc:sldChg chg="addSp modSp mod">
        <pc:chgData name="Roberto Gallardo" userId="49a044883f185952" providerId="LiveId" clId="{C26ACAEE-5A9C-46C9-891D-644C5A02236C}" dt="2023-03-07T22:48:35.775" v="208" actId="1076"/>
        <pc:sldMkLst>
          <pc:docMk/>
          <pc:sldMk cId="1380517306" sldId="288"/>
        </pc:sldMkLst>
        <pc:picChg chg="add mod">
          <ac:chgData name="Roberto Gallardo" userId="49a044883f185952" providerId="LiveId" clId="{C26ACAEE-5A9C-46C9-891D-644C5A02236C}" dt="2023-03-07T22:48:35.775" v="208" actId="1076"/>
          <ac:picMkLst>
            <pc:docMk/>
            <pc:sldMk cId="1380517306" sldId="288"/>
            <ac:picMk id="7" creationId="{66777489-7252-9AE1-B3FB-CB9DD4F2B68F}"/>
          </ac:picMkLst>
        </pc:picChg>
      </pc:sldChg>
      <pc:sldChg chg="addSp modSp mod">
        <pc:chgData name="Roberto Gallardo" userId="49a044883f185952" providerId="LiveId" clId="{C26ACAEE-5A9C-46C9-891D-644C5A02236C}" dt="2023-03-07T22:48:51.013" v="217" actId="1076"/>
        <pc:sldMkLst>
          <pc:docMk/>
          <pc:sldMk cId="1388671151" sldId="289"/>
        </pc:sldMkLst>
        <pc:picChg chg="add mod">
          <ac:chgData name="Roberto Gallardo" userId="49a044883f185952" providerId="LiveId" clId="{C26ACAEE-5A9C-46C9-891D-644C5A02236C}" dt="2023-03-07T22:48:51.013" v="217" actId="1076"/>
          <ac:picMkLst>
            <pc:docMk/>
            <pc:sldMk cId="1388671151" sldId="289"/>
            <ac:picMk id="7" creationId="{804A57DD-A6E0-2FD6-9F89-9277157938F8}"/>
          </ac:picMkLst>
        </pc:picChg>
      </pc:sldChg>
      <pc:sldChg chg="addSp modSp mod">
        <pc:chgData name="Roberto Gallardo" userId="49a044883f185952" providerId="LiveId" clId="{C26ACAEE-5A9C-46C9-891D-644C5A02236C}" dt="2023-03-07T22:49:19.183" v="234" actId="1076"/>
        <pc:sldMkLst>
          <pc:docMk/>
          <pc:sldMk cId="2355376039" sldId="290"/>
        </pc:sldMkLst>
        <pc:picChg chg="add mod">
          <ac:chgData name="Roberto Gallardo" userId="49a044883f185952" providerId="LiveId" clId="{C26ACAEE-5A9C-46C9-891D-644C5A02236C}" dt="2023-03-07T22:49:19.183" v="234" actId="1076"/>
          <ac:picMkLst>
            <pc:docMk/>
            <pc:sldMk cId="2355376039" sldId="290"/>
            <ac:picMk id="8" creationId="{98D9F8EE-AF08-4683-DA11-FBA3D1850C7C}"/>
          </ac:picMkLst>
        </pc:picChg>
      </pc:sldChg>
      <pc:sldChg chg="addSp modSp mod">
        <pc:chgData name="Roberto Gallardo" userId="49a044883f185952" providerId="LiveId" clId="{C26ACAEE-5A9C-46C9-891D-644C5A02236C}" dt="2023-03-07T22:49:33.935" v="244" actId="1076"/>
        <pc:sldMkLst>
          <pc:docMk/>
          <pc:sldMk cId="3757257295" sldId="291"/>
        </pc:sldMkLst>
        <pc:picChg chg="add mod">
          <ac:chgData name="Roberto Gallardo" userId="49a044883f185952" providerId="LiveId" clId="{C26ACAEE-5A9C-46C9-891D-644C5A02236C}" dt="2023-03-07T22:49:33.935" v="244" actId="1076"/>
          <ac:picMkLst>
            <pc:docMk/>
            <pc:sldMk cId="3757257295" sldId="291"/>
            <ac:picMk id="8" creationId="{61AA6001-CD70-4BA3-F419-8C7777098F87}"/>
          </ac:picMkLst>
        </pc:picChg>
      </pc:sldChg>
      <pc:sldChg chg="addSp modSp mod">
        <pc:chgData name="Roberto Gallardo" userId="49a044883f185952" providerId="LiveId" clId="{C26ACAEE-5A9C-46C9-891D-644C5A02236C}" dt="2023-03-07T22:48:11.918" v="195" actId="1076"/>
        <pc:sldMkLst>
          <pc:docMk/>
          <pc:sldMk cId="1259856727" sldId="292"/>
        </pc:sldMkLst>
        <pc:picChg chg="add mod">
          <ac:chgData name="Roberto Gallardo" userId="49a044883f185952" providerId="LiveId" clId="{C26ACAEE-5A9C-46C9-891D-644C5A02236C}" dt="2023-03-07T22:48:11.918" v="195" actId="1076"/>
          <ac:picMkLst>
            <pc:docMk/>
            <pc:sldMk cId="1259856727" sldId="292"/>
            <ac:picMk id="7" creationId="{DA45F725-501E-F685-83D2-15DED448B029}"/>
          </ac:picMkLst>
        </pc:picChg>
      </pc:sldChg>
      <pc:sldChg chg="addSp modSp mod">
        <pc:chgData name="Roberto Gallardo" userId="49a044883f185952" providerId="LiveId" clId="{C26ACAEE-5A9C-46C9-891D-644C5A02236C}" dt="2023-03-07T22:45:52.375" v="116" actId="1076"/>
        <pc:sldMkLst>
          <pc:docMk/>
          <pc:sldMk cId="3324519687" sldId="293"/>
        </pc:sldMkLst>
        <pc:picChg chg="add mod">
          <ac:chgData name="Roberto Gallardo" userId="49a044883f185952" providerId="LiveId" clId="{C26ACAEE-5A9C-46C9-891D-644C5A02236C}" dt="2023-03-07T22:45:52.375" v="116" actId="1076"/>
          <ac:picMkLst>
            <pc:docMk/>
            <pc:sldMk cId="3324519687" sldId="293"/>
            <ac:picMk id="7" creationId="{8A9A1D29-3841-D269-41B8-1A78D9A3A1DE}"/>
          </ac:picMkLst>
        </pc:picChg>
      </pc:sldChg>
      <pc:sldChg chg="addSp modSp mod">
        <pc:chgData name="Roberto Gallardo" userId="49a044883f185952" providerId="LiveId" clId="{C26ACAEE-5A9C-46C9-891D-644C5A02236C}" dt="2023-03-07T22:45:15.767" v="99" actId="1076"/>
        <pc:sldMkLst>
          <pc:docMk/>
          <pc:sldMk cId="3256182630" sldId="295"/>
        </pc:sldMkLst>
        <pc:picChg chg="add mod">
          <ac:chgData name="Roberto Gallardo" userId="49a044883f185952" providerId="LiveId" clId="{C26ACAEE-5A9C-46C9-891D-644C5A02236C}" dt="2023-03-07T22:45:15.767" v="99" actId="1076"/>
          <ac:picMkLst>
            <pc:docMk/>
            <pc:sldMk cId="3256182630" sldId="295"/>
            <ac:picMk id="7" creationId="{99882357-969D-707B-63DB-5B1C51EF5715}"/>
          </ac:picMkLst>
        </pc:picChg>
      </pc:sldChg>
      <pc:sldChg chg="addSp modSp mod">
        <pc:chgData name="Roberto Gallardo" userId="49a044883f185952" providerId="LiveId" clId="{C26ACAEE-5A9C-46C9-891D-644C5A02236C}" dt="2023-03-07T22:45:38.453" v="108" actId="1076"/>
        <pc:sldMkLst>
          <pc:docMk/>
          <pc:sldMk cId="4057156843" sldId="296"/>
        </pc:sldMkLst>
        <pc:picChg chg="add mod">
          <ac:chgData name="Roberto Gallardo" userId="49a044883f185952" providerId="LiveId" clId="{C26ACAEE-5A9C-46C9-891D-644C5A02236C}" dt="2023-03-07T22:45:38.453" v="108" actId="1076"/>
          <ac:picMkLst>
            <pc:docMk/>
            <pc:sldMk cId="4057156843" sldId="296"/>
            <ac:picMk id="7" creationId="{FE0345D1-C1D6-34BE-1EDB-464148DBF08F}"/>
          </ac:picMkLst>
        </pc:picChg>
      </pc:sldChg>
      <pc:sldChg chg="addSp modSp mod">
        <pc:chgData name="Roberto Gallardo" userId="49a044883f185952" providerId="LiveId" clId="{C26ACAEE-5A9C-46C9-891D-644C5A02236C}" dt="2023-03-07T22:44:43.327" v="85" actId="1076"/>
        <pc:sldMkLst>
          <pc:docMk/>
          <pc:sldMk cId="2080110827" sldId="297"/>
        </pc:sldMkLst>
        <pc:picChg chg="add mod">
          <ac:chgData name="Roberto Gallardo" userId="49a044883f185952" providerId="LiveId" clId="{C26ACAEE-5A9C-46C9-891D-644C5A02236C}" dt="2023-03-07T22:44:43.327" v="85" actId="1076"/>
          <ac:picMkLst>
            <pc:docMk/>
            <pc:sldMk cId="2080110827" sldId="297"/>
            <ac:picMk id="6" creationId="{2AF55FBD-B790-6E04-DBC0-00418679BA94}"/>
          </ac:picMkLst>
        </pc:picChg>
      </pc:sldChg>
      <pc:sldChg chg="addSp modSp mod">
        <pc:chgData name="Roberto Gallardo" userId="49a044883f185952" providerId="LiveId" clId="{C26ACAEE-5A9C-46C9-891D-644C5A02236C}" dt="2023-03-07T22:44:25.442" v="77" actId="1076"/>
        <pc:sldMkLst>
          <pc:docMk/>
          <pc:sldMk cId="1532666867" sldId="298"/>
        </pc:sldMkLst>
        <pc:picChg chg="add mod">
          <ac:chgData name="Roberto Gallardo" userId="49a044883f185952" providerId="LiveId" clId="{C26ACAEE-5A9C-46C9-891D-644C5A02236C}" dt="2023-03-07T22:44:25.442" v="77" actId="1076"/>
          <ac:picMkLst>
            <pc:docMk/>
            <pc:sldMk cId="1532666867" sldId="298"/>
            <ac:picMk id="6" creationId="{031BAA8C-8BFA-529C-DC7C-F11D3B29A6F7}"/>
          </ac:picMkLst>
        </pc:picChg>
      </pc:sldChg>
      <pc:sldChg chg="addSp modSp mod">
        <pc:chgData name="Roberto Gallardo" userId="49a044883f185952" providerId="LiveId" clId="{C26ACAEE-5A9C-46C9-891D-644C5A02236C}" dt="2023-03-07T22:49:03.815" v="225" actId="1076"/>
        <pc:sldMkLst>
          <pc:docMk/>
          <pc:sldMk cId="1951376777" sldId="299"/>
        </pc:sldMkLst>
        <pc:picChg chg="add mod">
          <ac:chgData name="Roberto Gallardo" userId="49a044883f185952" providerId="LiveId" clId="{C26ACAEE-5A9C-46C9-891D-644C5A02236C}" dt="2023-03-07T22:49:03.815" v="225" actId="1076"/>
          <ac:picMkLst>
            <pc:docMk/>
            <pc:sldMk cId="1951376777" sldId="299"/>
            <ac:picMk id="7" creationId="{4EEBD67A-4F0E-AADF-44BD-72A2232F0D24}"/>
          </ac:picMkLst>
        </pc:picChg>
      </pc:sldChg>
      <pc:sldChg chg="modSp mod">
        <pc:chgData name="Roberto Gallardo" userId="49a044883f185952" providerId="LiveId" clId="{C26ACAEE-5A9C-46C9-891D-644C5A02236C}" dt="2023-02-25T13:11:46.064" v="58" actId="20577"/>
        <pc:sldMkLst>
          <pc:docMk/>
          <pc:sldMk cId="1515423683" sldId="302"/>
        </pc:sldMkLst>
        <pc:spChg chg="mod">
          <ac:chgData name="Roberto Gallardo" userId="49a044883f185952" providerId="LiveId" clId="{C26ACAEE-5A9C-46C9-891D-644C5A02236C}" dt="2023-02-25T13:11:46.064" v="58" actId="20577"/>
          <ac:spMkLst>
            <pc:docMk/>
            <pc:sldMk cId="1515423683" sldId="302"/>
            <ac:spMk id="5" creationId="{6AE302AC-8931-4144-BE52-DD1A8BA82462}"/>
          </ac:spMkLst>
        </pc:spChg>
        <pc:spChg chg="mod">
          <ac:chgData name="Roberto Gallardo" userId="49a044883f185952" providerId="LiveId" clId="{C26ACAEE-5A9C-46C9-891D-644C5A02236C}" dt="2023-02-25T13:09:49.840" v="57" actId="20577"/>
          <ac:spMkLst>
            <pc:docMk/>
            <pc:sldMk cId="1515423683" sldId="302"/>
            <ac:spMk id="9" creationId="{E362A98F-7DCD-C67C-23CE-1BE182A133B4}"/>
          </ac:spMkLst>
        </pc:spChg>
      </pc:sldChg>
      <pc:sldChg chg="del">
        <pc:chgData name="Roberto Gallardo" userId="49a044883f185952" providerId="LiveId" clId="{C26ACAEE-5A9C-46C9-891D-644C5A02236C}" dt="2023-02-25T15:04:00.037" v="62" actId="47"/>
        <pc:sldMkLst>
          <pc:docMk/>
          <pc:sldMk cId="2841628872" sldId="303"/>
        </pc:sldMkLst>
      </pc:sldChg>
      <pc:sldChg chg="del">
        <pc:chgData name="Roberto Gallardo" userId="49a044883f185952" providerId="LiveId" clId="{C26ACAEE-5A9C-46C9-891D-644C5A02236C}" dt="2023-02-25T15:04:00.037" v="62" actId="47"/>
        <pc:sldMkLst>
          <pc:docMk/>
          <pc:sldMk cId="3084076302" sldId="304"/>
        </pc:sldMkLst>
      </pc:sldChg>
      <pc:sldChg chg="del">
        <pc:chgData name="Roberto Gallardo" userId="49a044883f185952" providerId="LiveId" clId="{C26ACAEE-5A9C-46C9-891D-644C5A02236C}" dt="2023-02-25T15:04:00.037" v="62" actId="47"/>
        <pc:sldMkLst>
          <pc:docMk/>
          <pc:sldMk cId="473712435" sldId="305"/>
        </pc:sldMkLst>
      </pc:sldChg>
      <pc:sldChg chg="modSp mod">
        <pc:chgData name="Roberto Gallardo" userId="49a044883f185952" providerId="LiveId" clId="{C26ACAEE-5A9C-46C9-891D-644C5A02236C}" dt="2023-02-25T13:09:17.867" v="55" actId="14100"/>
        <pc:sldMkLst>
          <pc:docMk/>
          <pc:sldMk cId="2366022307" sldId="306"/>
        </pc:sldMkLst>
        <pc:spChg chg="mod">
          <ac:chgData name="Roberto Gallardo" userId="49a044883f185952" providerId="LiveId" clId="{C26ACAEE-5A9C-46C9-891D-644C5A02236C}" dt="2023-02-25T13:09:01.672" v="28" actId="1036"/>
          <ac:spMkLst>
            <pc:docMk/>
            <pc:sldMk cId="2366022307" sldId="306"/>
            <ac:spMk id="11" creationId="{09F5AE19-B4E3-7788-F25F-CDA80D596DAF}"/>
          </ac:spMkLst>
        </pc:spChg>
        <pc:grpChg chg="mod">
          <ac:chgData name="Roberto Gallardo" userId="49a044883f185952" providerId="LiveId" clId="{C26ACAEE-5A9C-46C9-891D-644C5A02236C}" dt="2023-02-25T13:08:55.935" v="18" actId="1035"/>
          <ac:grpSpMkLst>
            <pc:docMk/>
            <pc:sldMk cId="2366022307" sldId="306"/>
            <ac:grpSpMk id="6" creationId="{4BC0EAD3-A621-359E-F822-1BC272A15D80}"/>
          </ac:grpSpMkLst>
        </pc:grpChg>
        <pc:cxnChg chg="mod">
          <ac:chgData name="Roberto Gallardo" userId="49a044883f185952" providerId="LiveId" clId="{C26ACAEE-5A9C-46C9-891D-644C5A02236C}" dt="2023-02-25T13:09:12.857" v="54" actId="1035"/>
          <ac:cxnSpMkLst>
            <pc:docMk/>
            <pc:sldMk cId="2366022307" sldId="306"/>
            <ac:cxnSpMk id="27" creationId="{F0CF8142-8895-D0A8-A662-E40568742508}"/>
          </ac:cxnSpMkLst>
        </pc:cxnChg>
        <pc:cxnChg chg="mod">
          <ac:chgData name="Roberto Gallardo" userId="49a044883f185952" providerId="LiveId" clId="{C26ACAEE-5A9C-46C9-891D-644C5A02236C}" dt="2023-02-25T13:09:17.867" v="55" actId="14100"/>
          <ac:cxnSpMkLst>
            <pc:docMk/>
            <pc:sldMk cId="2366022307" sldId="306"/>
            <ac:cxnSpMk id="28" creationId="{15C28C80-F0E1-159F-F103-CEA53436F6F9}"/>
          </ac:cxnSpMkLst>
        </pc:cxnChg>
        <pc:cxnChg chg="mod">
          <ac:chgData name="Roberto Gallardo" userId="49a044883f185952" providerId="LiveId" clId="{C26ACAEE-5A9C-46C9-891D-644C5A02236C}" dt="2023-02-25T13:09:06.309" v="29" actId="14100"/>
          <ac:cxnSpMkLst>
            <pc:docMk/>
            <pc:sldMk cId="2366022307" sldId="306"/>
            <ac:cxnSpMk id="29" creationId="{783CFD35-8D28-EF95-B783-8C1E52BEC855}"/>
          </ac:cxnSpMkLst>
        </pc:cxnChg>
      </pc:sldChg>
      <pc:sldChg chg="add">
        <pc:chgData name="Roberto Gallardo" userId="49a044883f185952" providerId="LiveId" clId="{C26ACAEE-5A9C-46C9-891D-644C5A02236C}" dt="2023-02-25T15:03:57.298" v="61"/>
        <pc:sldMkLst>
          <pc:docMk/>
          <pc:sldMk cId="3923500310" sldId="307"/>
        </pc:sldMkLst>
      </pc:sldChg>
      <pc:sldChg chg="add">
        <pc:chgData name="Roberto Gallardo" userId="49a044883f185952" providerId="LiveId" clId="{C26ACAEE-5A9C-46C9-891D-644C5A02236C}" dt="2023-02-25T15:03:57.298" v="61"/>
        <pc:sldMkLst>
          <pc:docMk/>
          <pc:sldMk cId="3738842166" sldId="308"/>
        </pc:sldMkLst>
      </pc:sldChg>
      <pc:sldChg chg="add">
        <pc:chgData name="Roberto Gallardo" userId="49a044883f185952" providerId="LiveId" clId="{C26ACAEE-5A9C-46C9-891D-644C5A02236C}" dt="2023-02-25T15:03:57.298" v="61"/>
        <pc:sldMkLst>
          <pc:docMk/>
          <pc:sldMk cId="945103525" sldId="309"/>
        </pc:sldMkLst>
      </pc:sldChg>
      <pc:sldChg chg="add">
        <pc:chgData name="Roberto Gallardo" userId="49a044883f185952" providerId="LiveId" clId="{C26ACAEE-5A9C-46C9-891D-644C5A02236C}" dt="2023-02-25T15:03:57.298" v="61"/>
        <pc:sldMkLst>
          <pc:docMk/>
          <pc:sldMk cId="3024238840"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Avery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DD8B4C2-2591-500D-85C1-D9231F8C2EF0}"/>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9451035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DA7153D9-7E59-18D1-094A-3094B566DF0F}"/>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30242388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22C62D99-D1F7-3A36-0D69-48E87766B4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031BAA8C-8BFA-529C-DC7C-F11D3B29A6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2AF55FBD-B790-6E04-DBC0-00418679BA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181C98E-624A-4ADF-FC9F-90BC674DDEC1}"/>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99882357-969D-707B-63DB-5B1C51EF57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2"/>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7A217F1-BACF-7C03-66A8-738B2027AF8B}"/>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FE0345D1-C1D6-34BE-1EDB-464148DBF0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96C0C6AD-84AF-1BCB-B08C-CF94D08E9319}"/>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8A9A1D29-3841-D269-41B8-1A78D9A3A1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207DC4A-D9F9-944F-19CC-36090660248A}"/>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with medium confidence">
            <a:extLst>
              <a:ext uri="{FF2B5EF4-FFF2-40B4-BE49-F238E27FC236}">
                <a16:creationId xmlns:a16="http://schemas.microsoft.com/office/drawing/2014/main" id="{53765FF7-00E1-04E0-4B1D-E0FFD07A64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547"/>
            <a:ext cx="6403975" cy="4528617"/>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AE2C41DC-8B45-1A5E-A241-E721CC2BACEB}"/>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9184038-6B95-10DC-03E0-67E070BF9F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780"/>
            <a:ext cx="6405562" cy="452973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4AB8E184-1575-128C-AB19-37E80CCE4A1C}"/>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F82CEF4-4250-6B20-F032-A217FB42FB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0207"/>
            <a:ext cx="6404826" cy="452921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A559C85E-4139-F638-98DD-436ABD947E74}"/>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0985637-5CD9-431D-626C-13DC245486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5917"/>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C1ADCACD-7193-30FC-B0C2-FC36D7C81340}"/>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B102B63-0892-22FF-8915-23F24CADCD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612"/>
            <a:ext cx="6403881" cy="452855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BC551C3A-4DCE-8370-4147-988CB96A65A9}"/>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C8AA3B7-9E14-897E-C809-08B002BFD1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325" y="1422122"/>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87EA5B34-0963-4E5D-9781-5C47561A6DE2}"/>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701C1F0-9527-8614-B9B7-12C1365017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2524775A-AC26-1E3B-ADC6-635D88D99ABB}"/>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A45F725-501E-F685-83D2-15DED448B0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239"/>
            <a:ext cx="6399481" cy="4525438"/>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569D222B-1D50-57F2-0997-0A5E060D32A1}"/>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6777489-7252-9AE1-B3FB-CB9DD4F2B6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D94E9B30-C750-7C41-4F83-3323ED8DCE35}"/>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04A57DD-A6E0-2FD6-9F89-9277157938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EB046534-B8ED-805C-B9CB-D5866011531F}"/>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4EEBD67A-4F0E-AADF-44BD-72A2232F0D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B93CD185-EABC-1CB3-0406-535742A7FDE4}"/>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98D9F8EE-AF08-4683-DA11-FBA3D1850C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9155B88F-80EC-FF59-DF7B-099447C99C3D}"/>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43DD19E9-1FCE-FBBE-3999-57C052C54B1A}"/>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61AA6001-CD70-4BA3-F419-8C7777098F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62"/>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3CD8505D-ED37-A800-90AB-C23CF938B58F}"/>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9FD5FFD-3564-B8D8-4866-30ACFCB39D19}"/>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3ADF4FF-6FD5-29C8-DC61-844B1794184B}"/>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508893"/>
            <a:ext cx="1198148" cy="2119263"/>
            <a:chOff x="10485745" y="2762337"/>
            <a:chExt cx="1198148" cy="21192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793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7623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762337"/>
              <a:ext cx="0" cy="6170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71936"/>
              <a:ext cx="0" cy="6096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34089"/>
            <a:ext cx="1198148" cy="2267202"/>
            <a:chOff x="2775759" y="2224808"/>
            <a:chExt cx="1198148" cy="226720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10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2480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24808"/>
              <a:ext cx="0" cy="73619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3553"/>
              <a:ext cx="0" cy="6384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C60F5F72-3EB4-39A3-2E0F-5491A2B5D075}"/>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E0F96840-A716-811C-8106-FC3DC554B5E6}"/>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EB6DA8D-3E45-F983-A433-638551BA8D87}"/>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B3885ED5-FAD7-7297-C72D-87D20C076623}"/>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B2EA2A1C-C58A-C532-6FFB-CFFF932125C8}"/>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8FF1813F-AB2B-9B4C-F979-B1BC2AC5F7F1}"/>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3291DC54-4F24-EDFC-BE5F-79159CF6D0F2}"/>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923500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BFA2C1F-5104-79FC-A5B0-C0E8872995DF}"/>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7388421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36</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99</cp:revision>
  <dcterms:created xsi:type="dcterms:W3CDTF">2022-07-04T13:32:28Z</dcterms:created>
  <dcterms:modified xsi:type="dcterms:W3CDTF">2023-03-07T22:49:38Z</dcterms:modified>
</cp:coreProperties>
</file>